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20DBC1-AB03-4A33-8896-EEA30DC22D45}" v="49" dt="2023-03-08T23:13:58.76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1520DBC1-AB03-4A33-8896-EEA30DC22D45}"/>
    <pc:docChg chg="modSld">
      <pc:chgData name="Roberto Gallardo" userId="49a044883f185952" providerId="LiveId" clId="{1520DBC1-AB03-4A33-8896-EEA30DC22D45}" dt="2023-03-08T23:14:09.598" v="248" actId="1076"/>
      <pc:docMkLst>
        <pc:docMk/>
      </pc:docMkLst>
      <pc:sldChg chg="modSp mod">
        <pc:chgData name="Roberto Gallardo" userId="49a044883f185952" providerId="LiveId" clId="{1520DBC1-AB03-4A33-8896-EEA30DC22D45}" dt="2023-02-25T15:19:46.109" v="16" actId="20577"/>
        <pc:sldMkLst>
          <pc:docMk/>
          <pc:sldMk cId="2846901679" sldId="256"/>
        </pc:sldMkLst>
        <pc:spChg chg="mod">
          <ac:chgData name="Roberto Gallardo" userId="49a044883f185952" providerId="LiveId" clId="{1520DBC1-AB03-4A33-8896-EEA30DC22D45}" dt="2023-02-25T15:19:46.109" v="16" actId="20577"/>
          <ac:spMkLst>
            <pc:docMk/>
            <pc:sldMk cId="2846901679" sldId="256"/>
            <ac:spMk id="7" creationId="{B1E0ABEC-554C-720A-2772-F0324C8E93CA}"/>
          </ac:spMkLst>
        </pc:spChg>
      </pc:sldChg>
      <pc:sldChg chg="addSp modSp mod">
        <pc:chgData name="Roberto Gallardo" userId="49a044883f185952" providerId="LiveId" clId="{1520DBC1-AB03-4A33-8896-EEA30DC22D45}" dt="2023-03-08T23:08:43.525" v="58" actId="1076"/>
        <pc:sldMkLst>
          <pc:docMk/>
          <pc:sldMk cId="1418533539" sldId="271"/>
        </pc:sldMkLst>
        <pc:picChg chg="add mod">
          <ac:chgData name="Roberto Gallardo" userId="49a044883f185952" providerId="LiveId" clId="{1520DBC1-AB03-4A33-8896-EEA30DC22D45}" dt="2023-03-08T23:08:43.525" v="58" actId="1076"/>
          <ac:picMkLst>
            <pc:docMk/>
            <pc:sldMk cId="1418533539" sldId="271"/>
            <ac:picMk id="6" creationId="{962278DA-B801-224E-5B71-84132BD07868}"/>
          </ac:picMkLst>
        </pc:picChg>
      </pc:sldChg>
      <pc:sldChg chg="addSp modSp mod">
        <pc:chgData name="Roberto Gallardo" userId="49a044883f185952" providerId="LiveId" clId="{1520DBC1-AB03-4A33-8896-EEA30DC22D45}" dt="2023-03-08T23:10:38.666" v="120" actId="1076"/>
        <pc:sldMkLst>
          <pc:docMk/>
          <pc:sldMk cId="2124848710" sldId="281"/>
        </pc:sldMkLst>
        <pc:picChg chg="add mod">
          <ac:chgData name="Roberto Gallardo" userId="49a044883f185952" providerId="LiveId" clId="{1520DBC1-AB03-4A33-8896-EEA30DC22D45}" dt="2023-03-08T23:10:38.666" v="120" actId="1076"/>
          <ac:picMkLst>
            <pc:docMk/>
            <pc:sldMk cId="2124848710" sldId="281"/>
            <ac:picMk id="6" creationId="{3912530E-EA98-BAAF-FEC6-85112A2CFC69}"/>
          </ac:picMkLst>
        </pc:picChg>
      </pc:sldChg>
      <pc:sldChg chg="addSp modSp mod">
        <pc:chgData name="Roberto Gallardo" userId="49a044883f185952" providerId="LiveId" clId="{1520DBC1-AB03-4A33-8896-EEA30DC22D45}" dt="2023-03-08T23:10:56.314" v="133" actId="1038"/>
        <pc:sldMkLst>
          <pc:docMk/>
          <pc:sldMk cId="2028175529" sldId="282"/>
        </pc:sldMkLst>
        <pc:picChg chg="add mod">
          <ac:chgData name="Roberto Gallardo" userId="49a044883f185952" providerId="LiveId" clId="{1520DBC1-AB03-4A33-8896-EEA30DC22D45}" dt="2023-03-08T23:10:56.314" v="133" actId="1038"/>
          <ac:picMkLst>
            <pc:docMk/>
            <pc:sldMk cId="2028175529" sldId="282"/>
            <ac:picMk id="7" creationId="{03BC392C-40C7-6E08-42AB-E9B3CA8E571D}"/>
          </ac:picMkLst>
        </pc:picChg>
      </pc:sldChg>
      <pc:sldChg chg="addSp modSp mod">
        <pc:chgData name="Roberto Gallardo" userId="49a044883f185952" providerId="LiveId" clId="{1520DBC1-AB03-4A33-8896-EEA30DC22D45}" dt="2023-03-08T23:11:15.758" v="143" actId="1076"/>
        <pc:sldMkLst>
          <pc:docMk/>
          <pc:sldMk cId="1326517747" sldId="283"/>
        </pc:sldMkLst>
        <pc:picChg chg="add mod">
          <ac:chgData name="Roberto Gallardo" userId="49a044883f185952" providerId="LiveId" clId="{1520DBC1-AB03-4A33-8896-EEA30DC22D45}" dt="2023-03-08T23:11:15.758" v="143" actId="1076"/>
          <ac:picMkLst>
            <pc:docMk/>
            <pc:sldMk cId="1326517747" sldId="283"/>
            <ac:picMk id="7" creationId="{03B783B8-A693-462B-6A86-BAC945689AD7}"/>
          </ac:picMkLst>
        </pc:picChg>
      </pc:sldChg>
      <pc:sldChg chg="addSp modSp mod">
        <pc:chgData name="Roberto Gallardo" userId="49a044883f185952" providerId="LiveId" clId="{1520DBC1-AB03-4A33-8896-EEA30DC22D45}" dt="2023-03-08T23:11:37.517" v="156" actId="1076"/>
        <pc:sldMkLst>
          <pc:docMk/>
          <pc:sldMk cId="783739251" sldId="284"/>
        </pc:sldMkLst>
        <pc:picChg chg="add mod">
          <ac:chgData name="Roberto Gallardo" userId="49a044883f185952" providerId="LiveId" clId="{1520DBC1-AB03-4A33-8896-EEA30DC22D45}" dt="2023-03-08T23:11:37.517" v="156" actId="1076"/>
          <ac:picMkLst>
            <pc:docMk/>
            <pc:sldMk cId="783739251" sldId="284"/>
            <ac:picMk id="7" creationId="{86A32C90-9AD1-BA60-985F-7696B0D23182}"/>
          </ac:picMkLst>
        </pc:picChg>
      </pc:sldChg>
      <pc:sldChg chg="addSp modSp mod">
        <pc:chgData name="Roberto Gallardo" userId="49a044883f185952" providerId="LiveId" clId="{1520DBC1-AB03-4A33-8896-EEA30DC22D45}" dt="2023-03-08T23:11:53.214" v="166" actId="1076"/>
        <pc:sldMkLst>
          <pc:docMk/>
          <pc:sldMk cId="1676122233" sldId="285"/>
        </pc:sldMkLst>
        <pc:picChg chg="add mod">
          <ac:chgData name="Roberto Gallardo" userId="49a044883f185952" providerId="LiveId" clId="{1520DBC1-AB03-4A33-8896-EEA30DC22D45}" dt="2023-03-08T23:11:53.214" v="166" actId="1076"/>
          <ac:picMkLst>
            <pc:docMk/>
            <pc:sldMk cId="1676122233" sldId="285"/>
            <ac:picMk id="7" creationId="{7D32C476-FA49-6CFB-81FC-307CEB802D35}"/>
          </ac:picMkLst>
        </pc:picChg>
      </pc:sldChg>
      <pc:sldChg chg="addSp modSp mod">
        <pc:chgData name="Roberto Gallardo" userId="49a044883f185952" providerId="LiveId" clId="{1520DBC1-AB03-4A33-8896-EEA30DC22D45}" dt="2023-03-08T23:12:06.389" v="174" actId="1076"/>
        <pc:sldMkLst>
          <pc:docMk/>
          <pc:sldMk cId="3100398757" sldId="286"/>
        </pc:sldMkLst>
        <pc:picChg chg="add mod">
          <ac:chgData name="Roberto Gallardo" userId="49a044883f185952" providerId="LiveId" clId="{1520DBC1-AB03-4A33-8896-EEA30DC22D45}" dt="2023-03-08T23:12:06.389" v="174" actId="1076"/>
          <ac:picMkLst>
            <pc:docMk/>
            <pc:sldMk cId="3100398757" sldId="286"/>
            <ac:picMk id="7" creationId="{A1D5859A-6CE0-AA78-3DB8-074FD81AED5F}"/>
          </ac:picMkLst>
        </pc:picChg>
      </pc:sldChg>
      <pc:sldChg chg="addSp modSp mod">
        <pc:chgData name="Roberto Gallardo" userId="49a044883f185952" providerId="LiveId" clId="{1520DBC1-AB03-4A33-8896-EEA30DC22D45}" dt="2023-03-08T23:12:25.105" v="186" actId="1076"/>
        <pc:sldMkLst>
          <pc:docMk/>
          <pc:sldMk cId="1546475425" sldId="287"/>
        </pc:sldMkLst>
        <pc:picChg chg="add mod">
          <ac:chgData name="Roberto Gallardo" userId="49a044883f185952" providerId="LiveId" clId="{1520DBC1-AB03-4A33-8896-EEA30DC22D45}" dt="2023-03-08T23:12:25.105" v="186" actId="1076"/>
          <ac:picMkLst>
            <pc:docMk/>
            <pc:sldMk cId="1546475425" sldId="287"/>
            <ac:picMk id="7" creationId="{4095375B-1CE5-6F3B-EDB6-09F197F5B05D}"/>
          </ac:picMkLst>
        </pc:picChg>
      </pc:sldChg>
      <pc:sldChg chg="addSp modSp mod">
        <pc:chgData name="Roberto Gallardo" userId="49a044883f185952" providerId="LiveId" clId="{1520DBC1-AB03-4A33-8896-EEA30DC22D45}" dt="2023-03-08T23:12:58.602" v="205" actId="1076"/>
        <pc:sldMkLst>
          <pc:docMk/>
          <pc:sldMk cId="1380517306" sldId="288"/>
        </pc:sldMkLst>
        <pc:picChg chg="add mod">
          <ac:chgData name="Roberto Gallardo" userId="49a044883f185952" providerId="LiveId" clId="{1520DBC1-AB03-4A33-8896-EEA30DC22D45}" dt="2023-03-08T23:12:58.602" v="205" actId="1076"/>
          <ac:picMkLst>
            <pc:docMk/>
            <pc:sldMk cId="1380517306" sldId="288"/>
            <ac:picMk id="7" creationId="{1722A9DF-A042-217F-69D2-84D066711FDC}"/>
          </ac:picMkLst>
        </pc:picChg>
      </pc:sldChg>
      <pc:sldChg chg="addSp modSp mod">
        <pc:chgData name="Roberto Gallardo" userId="49a044883f185952" providerId="LiveId" clId="{1520DBC1-AB03-4A33-8896-EEA30DC22D45}" dt="2023-03-08T23:13:13.594" v="214" actId="1076"/>
        <pc:sldMkLst>
          <pc:docMk/>
          <pc:sldMk cId="1388671151" sldId="289"/>
        </pc:sldMkLst>
        <pc:picChg chg="add mod">
          <ac:chgData name="Roberto Gallardo" userId="49a044883f185952" providerId="LiveId" clId="{1520DBC1-AB03-4A33-8896-EEA30DC22D45}" dt="2023-03-08T23:13:13.594" v="214" actId="1076"/>
          <ac:picMkLst>
            <pc:docMk/>
            <pc:sldMk cId="1388671151" sldId="289"/>
            <ac:picMk id="7" creationId="{7B38584A-BFCC-673E-5DBF-743C8E47496C}"/>
          </ac:picMkLst>
        </pc:picChg>
      </pc:sldChg>
      <pc:sldChg chg="addSp modSp mod">
        <pc:chgData name="Roberto Gallardo" userId="49a044883f185952" providerId="LiveId" clId="{1520DBC1-AB03-4A33-8896-EEA30DC22D45}" dt="2023-03-08T23:13:52.330" v="238" actId="1076"/>
        <pc:sldMkLst>
          <pc:docMk/>
          <pc:sldMk cId="2355376039" sldId="290"/>
        </pc:sldMkLst>
        <pc:picChg chg="add mod">
          <ac:chgData name="Roberto Gallardo" userId="49a044883f185952" providerId="LiveId" clId="{1520DBC1-AB03-4A33-8896-EEA30DC22D45}" dt="2023-03-08T23:13:52.330" v="238" actId="1076"/>
          <ac:picMkLst>
            <pc:docMk/>
            <pc:sldMk cId="2355376039" sldId="290"/>
            <ac:picMk id="8" creationId="{DA523E48-383E-3544-6F42-C226D6362BB7}"/>
          </ac:picMkLst>
        </pc:picChg>
      </pc:sldChg>
      <pc:sldChg chg="addSp modSp mod">
        <pc:chgData name="Roberto Gallardo" userId="49a044883f185952" providerId="LiveId" clId="{1520DBC1-AB03-4A33-8896-EEA30DC22D45}" dt="2023-03-08T23:14:09.598" v="248" actId="1076"/>
        <pc:sldMkLst>
          <pc:docMk/>
          <pc:sldMk cId="3757257295" sldId="291"/>
        </pc:sldMkLst>
        <pc:picChg chg="add mod">
          <ac:chgData name="Roberto Gallardo" userId="49a044883f185952" providerId="LiveId" clId="{1520DBC1-AB03-4A33-8896-EEA30DC22D45}" dt="2023-03-08T23:14:09.598" v="248" actId="1076"/>
          <ac:picMkLst>
            <pc:docMk/>
            <pc:sldMk cId="3757257295" sldId="291"/>
            <ac:picMk id="8" creationId="{1F9E326A-7AC9-33BF-7812-C4314280DB4F}"/>
          </ac:picMkLst>
        </pc:picChg>
      </pc:sldChg>
      <pc:sldChg chg="addSp modSp mod">
        <pc:chgData name="Roberto Gallardo" userId="49a044883f185952" providerId="LiveId" clId="{1520DBC1-AB03-4A33-8896-EEA30DC22D45}" dt="2023-03-08T23:12:39.841" v="194" actId="1076"/>
        <pc:sldMkLst>
          <pc:docMk/>
          <pc:sldMk cId="1259856727" sldId="292"/>
        </pc:sldMkLst>
        <pc:picChg chg="add mod">
          <ac:chgData name="Roberto Gallardo" userId="49a044883f185952" providerId="LiveId" clId="{1520DBC1-AB03-4A33-8896-EEA30DC22D45}" dt="2023-03-08T23:12:39.841" v="194" actId="1076"/>
          <ac:picMkLst>
            <pc:docMk/>
            <pc:sldMk cId="1259856727" sldId="292"/>
            <ac:picMk id="7" creationId="{E4376138-909C-3A6D-AFA8-77F09D69E111}"/>
          </ac:picMkLst>
        </pc:picChg>
      </pc:sldChg>
      <pc:sldChg chg="addSp modSp mod">
        <pc:chgData name="Roberto Gallardo" userId="49a044883f185952" providerId="LiveId" clId="{1520DBC1-AB03-4A33-8896-EEA30DC22D45}" dt="2023-03-08T23:10:17.162" v="106" actId="1076"/>
        <pc:sldMkLst>
          <pc:docMk/>
          <pc:sldMk cId="3324519687" sldId="293"/>
        </pc:sldMkLst>
        <pc:picChg chg="add mod">
          <ac:chgData name="Roberto Gallardo" userId="49a044883f185952" providerId="LiveId" clId="{1520DBC1-AB03-4A33-8896-EEA30DC22D45}" dt="2023-03-08T23:10:17.162" v="106" actId="1076"/>
          <ac:picMkLst>
            <pc:docMk/>
            <pc:sldMk cId="3324519687" sldId="293"/>
            <ac:picMk id="7" creationId="{FDEDC59A-3EAB-6828-3AD0-F99626F80CB5}"/>
          </ac:picMkLst>
        </pc:picChg>
      </pc:sldChg>
      <pc:sldChg chg="addSp modSp mod">
        <pc:chgData name="Roberto Gallardo" userId="49a044883f185952" providerId="LiveId" clId="{1520DBC1-AB03-4A33-8896-EEA30DC22D45}" dt="2023-03-08T23:09:39.481" v="85" actId="1076"/>
        <pc:sldMkLst>
          <pc:docMk/>
          <pc:sldMk cId="3256182630" sldId="295"/>
        </pc:sldMkLst>
        <pc:picChg chg="add mod">
          <ac:chgData name="Roberto Gallardo" userId="49a044883f185952" providerId="LiveId" clId="{1520DBC1-AB03-4A33-8896-EEA30DC22D45}" dt="2023-03-08T23:09:39.481" v="85" actId="1076"/>
          <ac:picMkLst>
            <pc:docMk/>
            <pc:sldMk cId="3256182630" sldId="295"/>
            <ac:picMk id="7" creationId="{AC96122C-1ACE-F6A0-215C-BFC5C8E858E7}"/>
          </ac:picMkLst>
        </pc:picChg>
      </pc:sldChg>
      <pc:sldChg chg="addSp modSp mod">
        <pc:chgData name="Roberto Gallardo" userId="49a044883f185952" providerId="LiveId" clId="{1520DBC1-AB03-4A33-8896-EEA30DC22D45}" dt="2023-03-08T23:09:58.009" v="94" actId="1076"/>
        <pc:sldMkLst>
          <pc:docMk/>
          <pc:sldMk cId="4057156843" sldId="296"/>
        </pc:sldMkLst>
        <pc:picChg chg="add mod">
          <ac:chgData name="Roberto Gallardo" userId="49a044883f185952" providerId="LiveId" clId="{1520DBC1-AB03-4A33-8896-EEA30DC22D45}" dt="2023-03-08T23:09:58.009" v="94" actId="1076"/>
          <ac:picMkLst>
            <pc:docMk/>
            <pc:sldMk cId="4057156843" sldId="296"/>
            <ac:picMk id="7" creationId="{F68D6CB6-C9D3-DF64-2BF3-5083EEA46C84}"/>
          </ac:picMkLst>
        </pc:picChg>
      </pc:sldChg>
      <pc:sldChg chg="addSp modSp mod">
        <pc:chgData name="Roberto Gallardo" userId="49a044883f185952" providerId="LiveId" clId="{1520DBC1-AB03-4A33-8896-EEA30DC22D45}" dt="2023-03-08T23:09:18.497" v="74" actId="1076"/>
        <pc:sldMkLst>
          <pc:docMk/>
          <pc:sldMk cId="2080110827" sldId="297"/>
        </pc:sldMkLst>
        <pc:picChg chg="add mod">
          <ac:chgData name="Roberto Gallardo" userId="49a044883f185952" providerId="LiveId" clId="{1520DBC1-AB03-4A33-8896-EEA30DC22D45}" dt="2023-03-08T23:09:18.497" v="74" actId="1076"/>
          <ac:picMkLst>
            <pc:docMk/>
            <pc:sldMk cId="2080110827" sldId="297"/>
            <ac:picMk id="6" creationId="{9C826420-E0A4-9079-B7D8-E25C09EA1263}"/>
          </ac:picMkLst>
        </pc:picChg>
      </pc:sldChg>
      <pc:sldChg chg="addSp modSp mod">
        <pc:chgData name="Roberto Gallardo" userId="49a044883f185952" providerId="LiveId" clId="{1520DBC1-AB03-4A33-8896-EEA30DC22D45}" dt="2023-03-08T23:09:02.658" v="66" actId="1076"/>
        <pc:sldMkLst>
          <pc:docMk/>
          <pc:sldMk cId="1532666867" sldId="298"/>
        </pc:sldMkLst>
        <pc:picChg chg="add mod">
          <ac:chgData name="Roberto Gallardo" userId="49a044883f185952" providerId="LiveId" clId="{1520DBC1-AB03-4A33-8896-EEA30DC22D45}" dt="2023-03-08T23:09:02.658" v="66" actId="1076"/>
          <ac:picMkLst>
            <pc:docMk/>
            <pc:sldMk cId="1532666867" sldId="298"/>
            <ac:picMk id="6" creationId="{3634BC9D-94B1-6D25-7BBD-E014F7EB13BE}"/>
          </ac:picMkLst>
        </pc:picChg>
      </pc:sldChg>
      <pc:sldChg chg="addSp modSp mod">
        <pc:chgData name="Roberto Gallardo" userId="49a044883f185952" providerId="LiveId" clId="{1520DBC1-AB03-4A33-8896-EEA30DC22D45}" dt="2023-03-08T23:13:36.665" v="231" actId="1076"/>
        <pc:sldMkLst>
          <pc:docMk/>
          <pc:sldMk cId="1951376777" sldId="299"/>
        </pc:sldMkLst>
        <pc:picChg chg="add mod">
          <ac:chgData name="Roberto Gallardo" userId="49a044883f185952" providerId="LiveId" clId="{1520DBC1-AB03-4A33-8896-EEA30DC22D45}" dt="2023-03-08T23:13:36.665" v="231" actId="1076"/>
          <ac:picMkLst>
            <pc:docMk/>
            <pc:sldMk cId="1951376777" sldId="299"/>
            <ac:picMk id="7" creationId="{BDF5717A-D1C9-40BC-F4F4-A430CFA740D6}"/>
          </ac:picMkLst>
        </pc:picChg>
      </pc:sldChg>
      <pc:sldChg chg="modSp mod">
        <pc:chgData name="Roberto Gallardo" userId="49a044883f185952" providerId="LiveId" clId="{1520DBC1-AB03-4A33-8896-EEA30DC22D45}" dt="2023-02-25T15:20:17.936" v="51" actId="14100"/>
        <pc:sldMkLst>
          <pc:docMk/>
          <pc:sldMk cId="2366022307" sldId="306"/>
        </pc:sldMkLst>
        <pc:spChg chg="mod">
          <ac:chgData name="Roberto Gallardo" userId="49a044883f185952" providerId="LiveId" clId="{1520DBC1-AB03-4A33-8896-EEA30DC22D45}" dt="2023-02-25T15:20:06.044" v="33" actId="20577"/>
          <ac:spMkLst>
            <pc:docMk/>
            <pc:sldMk cId="2366022307" sldId="306"/>
            <ac:spMk id="11" creationId="{09F5AE19-B4E3-7788-F25F-CDA80D596DAF}"/>
          </ac:spMkLst>
        </pc:spChg>
        <pc:cxnChg chg="mod">
          <ac:chgData name="Roberto Gallardo" userId="49a044883f185952" providerId="LiveId" clId="{1520DBC1-AB03-4A33-8896-EEA30DC22D45}" dt="2023-02-25T15:20:13.931" v="50" actId="1036"/>
          <ac:cxnSpMkLst>
            <pc:docMk/>
            <pc:sldMk cId="2366022307" sldId="306"/>
            <ac:cxnSpMk id="27" creationId="{F0CF8142-8895-D0A8-A662-E40568742508}"/>
          </ac:cxnSpMkLst>
        </pc:cxnChg>
        <pc:cxnChg chg="mod">
          <ac:chgData name="Roberto Gallardo" userId="49a044883f185952" providerId="LiveId" clId="{1520DBC1-AB03-4A33-8896-EEA30DC22D45}" dt="2023-02-25T15:20:17.936" v="51" actId="14100"/>
          <ac:cxnSpMkLst>
            <pc:docMk/>
            <pc:sldMk cId="2366022307" sldId="306"/>
            <ac:cxnSpMk id="28" creationId="{15C28C80-F0E1-159F-F103-CEA53436F6F9}"/>
          </ac:cxnSpMkLst>
        </pc:cxnChg>
        <pc:cxnChg chg="mod">
          <ac:chgData name="Roberto Gallardo" userId="49a044883f185952" providerId="LiveId" clId="{1520DBC1-AB03-4A33-8896-EEA30DC22D45}" dt="2023-02-25T15:20:10.104" v="34" actId="14100"/>
          <ac:cxnSpMkLst>
            <pc:docMk/>
            <pc:sldMk cId="2366022307" sldId="306"/>
            <ac:cxnSpMk id="29" creationId="{783CFD35-8D28-EF95-B783-8C1E52BEC855}"/>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Granville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109310A-265A-10E0-8A40-4CBA750ACB30}"/>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CA3E6618-A219-3B0F-527A-1C62A7360987}"/>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962278DA-B801-224E-5B71-84132BD078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16837" y="1028700"/>
            <a:ext cx="7682125"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3634BC9D-94B1-6D25-7BBD-E014F7EB13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13873" y="1024554"/>
            <a:ext cx="7688054"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9C826420-E0A4-9079-B7D8-E25C09EA126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13873" y="1028700"/>
            <a:ext cx="7688054"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709AC8ED-8AE0-ED03-CA38-54BD6B219A54}"/>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AC96122C-1ACE-F6A0-215C-BFC5C8E858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9092"/>
            <a:ext cx="6403975" cy="447829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99A03D4C-4608-F0CF-5D3C-62526C44194D}"/>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F68D6CB6-C9D3-DF64-2BF3-5083EEA46C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5990" y="1441128"/>
            <a:ext cx="6393610" cy="4471043"/>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125C436F-E861-1BD9-CCB9-699E72A01714}"/>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FDEDC59A-3EAB-6828-3AD0-F99626F80C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8420"/>
            <a:ext cx="6400800" cy="4476070"/>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F61D1C88-3E8A-62B7-AE71-A081FF707E44}"/>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3912530E-EA98-BAAF-FEC6-85112A2CF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7820"/>
            <a:ext cx="6400800" cy="4476072"/>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8D63BF29-9091-082F-AD25-C68273038749}"/>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03BC392C-40C7-6E08-42AB-E9B3CA8E57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0343" y="1438614"/>
            <a:ext cx="6400800" cy="44760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6A7EF8CA-94FE-048E-9093-6102FF07CD6E}"/>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03B783B8-A693-462B-6A86-BAC945689A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6781"/>
            <a:ext cx="6400800" cy="44760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573FB499-282A-02B5-1500-A7A4B84C5698}"/>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6A32C90-9AD1-BA60-985F-7696B0D231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41067"/>
            <a:ext cx="6400800" cy="44760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503ED1EA-EA24-0535-B859-9579E1C4672B}"/>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7D32C476-FA49-6CFB-81FC-307CEB802D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881" y="1433851"/>
            <a:ext cx="6400800" cy="44760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62A9FFE7-DFA4-DEA8-D46F-2CBDFE66803B}"/>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1D5859A-6CE0-AA78-3DB8-074FD81AED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43942"/>
            <a:ext cx="6410325" cy="4482732"/>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D95FBC0E-DECA-0FF7-4E28-A73DE27F3E8B}"/>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4095375B-1CE5-6F3B-EDB6-09F197F5B0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42537"/>
            <a:ext cx="6400800" cy="44760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F078B1BF-5C13-124E-EB0D-010D00E5A209}"/>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E4376138-909C-3A6D-AFA8-77F09D69E1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383"/>
            <a:ext cx="6399481" cy="4475149"/>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89257399-1540-758E-386D-B7C4D1261E86}"/>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1722A9DF-A042-217F-69D2-84D066711F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46552"/>
            <a:ext cx="6400800" cy="44760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33443D12-F4D3-16D5-EDB7-2F58791ECD7B}"/>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7B38584A-BFCC-673E-5DBF-743C8E4749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7557"/>
            <a:ext cx="6400800" cy="44760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9EB67634-F500-A68D-7E2E-48BC60D92DD1}"/>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BDF5717A-D1C9-40BC-F4F4-A430CFA740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8614"/>
            <a:ext cx="6400800" cy="44760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9FF02A6D-84F1-0A22-0D8A-8DF416E95F71}"/>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DA523E48-383E-3544-6F42-C226D6362B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42297"/>
            <a:ext cx="6400800" cy="447607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E9E4F5C1-559E-5FD2-1F47-4DE58DE3C7EF}"/>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23C897E0-5775-9CA8-1EED-E9599BFDBFF6}"/>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1F9E326A-7AC9-33BF-7812-C4314280DB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60"/>
            <a:ext cx="6404668" cy="4478776"/>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B23A599E-404D-BCE4-0313-5EC439C0D4C8}"/>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673738A7-455D-F609-509D-4824D95D2CC9}"/>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F615462C-DE5F-73CA-3D14-846A21675964}"/>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83452" y="2451743"/>
            <a:ext cx="1198148" cy="2033538"/>
            <a:chOff x="10485745" y="2848062"/>
            <a:chExt cx="1198148" cy="2033538"/>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43653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0.1</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84806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848062"/>
              <a:ext cx="0" cy="58847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329086"/>
              <a:ext cx="0" cy="5525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67072" y="2343614"/>
            <a:ext cx="1198148" cy="2171952"/>
            <a:chOff x="2775759" y="2320058"/>
            <a:chExt cx="1198148" cy="2171952"/>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991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7</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3200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3200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91653"/>
              <a:ext cx="0" cy="6003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202B1AFA-8FD3-6A87-52F2-3F71BEF084D8}"/>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90E8457D-5B97-C6B2-4C1B-ACBADA70238E}"/>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D87AEF99-75E2-B512-8AEC-055ED5509895}"/>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868C02A6-3B69-CE8B-FE87-99E59A5F1665}"/>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861AD885-2133-C7A5-84D0-F834E7298EA1}"/>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F4724CDF-083F-B540-B096-144BAC013606}"/>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0BDF403D-54B0-E536-D68E-9E4DAA07FFDB}"/>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4F581625-EBAD-F1EE-FDF2-AC487F0B4D25}"/>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82</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11</cp:revision>
  <dcterms:created xsi:type="dcterms:W3CDTF">2022-07-04T13:32:28Z</dcterms:created>
  <dcterms:modified xsi:type="dcterms:W3CDTF">2023-03-08T23:14:15Z</dcterms:modified>
</cp:coreProperties>
</file>